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48" r:id="rId8"/>
  </p:sldMasterIdLst>
  <p:notesMasterIdLst>
    <p:notesMasterId r:id="rId17"/>
  </p:notesMasterIdLst>
  <p:handoutMasterIdLst>
    <p:handoutMasterId r:id="rId18"/>
  </p:handoutMasterIdLst>
  <p:sldIdLst>
    <p:sldId id="344" r:id="rId9"/>
    <p:sldId id="332" r:id="rId10"/>
    <p:sldId id="341" r:id="rId11"/>
    <p:sldId id="345" r:id="rId12"/>
    <p:sldId id="347" r:id="rId13"/>
    <p:sldId id="346" r:id="rId14"/>
    <p:sldId id="348" r:id="rId15"/>
    <p:sldId id="349" r:id="rId1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44"/>
            <p14:sldId id="332"/>
            <p14:sldId id="341"/>
            <p14:sldId id="345"/>
            <p14:sldId id="347"/>
            <p14:sldId id="346"/>
            <p14:sldId id="348"/>
            <p14:sldId id="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64"/>
    <a:srgbClr val="389E7E"/>
    <a:srgbClr val="E4E4E4"/>
    <a:srgbClr val="202020"/>
    <a:srgbClr val="01557E"/>
    <a:srgbClr val="FD7D7B"/>
    <a:srgbClr val="9078FC"/>
    <a:srgbClr val="F5F5F5"/>
    <a:srgbClr val="00FFFD"/>
    <a:srgbClr val="00FF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>
        <p:scale>
          <a:sx n="33" d="100"/>
          <a:sy n="33" d="100"/>
        </p:scale>
        <p:origin x="1008" y="68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22/2016 11:4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5/22/2016 11:48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5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/>
              <a:t>Click to edit Master style</a:t>
            </a:r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here, second line her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header he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106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979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9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331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060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59263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9501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9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337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402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50872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367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630121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215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89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39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3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</p:sldLayoutIdLst>
  <p:transition>
    <p:fade/>
  </p:transition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7" Type="http://schemas.openxmlformats.org/officeDocument/2006/relationships/image" Target="../media/image14.gif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1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Nacho cheese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033923">
            <a:off x="33380" y="103059"/>
            <a:ext cx="4799014" cy="3599261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36063">
            <a:off x="5518917" y="-2268"/>
            <a:ext cx="7223368" cy="4063144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440417">
            <a:off x="512616" y="3536636"/>
            <a:ext cx="4670777" cy="3503083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017772">
            <a:off x="6069095" y="3550424"/>
            <a:ext cx="4397022" cy="3297767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010466">
            <a:off x="1678903" y="3547173"/>
            <a:ext cx="4886042" cy="3482007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13090">
            <a:off x="2796490" y="1194439"/>
            <a:ext cx="7620000" cy="4019550"/>
          </a:xfrm>
          <a:prstGeom prst="rect">
            <a:avLst/>
          </a:prstGeom>
          <a:effectLst>
            <a:outerShdw blurRad="114300" dist="38100" dir="10800000" sx="102000" sy="102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82268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 decel="10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 decel="100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 decel="100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4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4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400" decel="100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4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4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4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4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4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4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400" decel="100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4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4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4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2941637" y="1135062"/>
            <a:ext cx="5227638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119" b="1" dirty="0" err="1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rgbClr val="7030A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❤</a:t>
            </a:r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Windows 10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8" y="373062"/>
            <a:ext cx="1981200" cy="1537069"/>
          </a:xfrm>
        </p:spPr>
        <p:txBody>
          <a:bodyPr>
            <a:normAutofit/>
          </a:bodyPr>
          <a:lstStyle/>
          <a:p>
            <a:r>
              <a:rPr lang="es-ES" sz="5400" b="1" spc="0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2408238" y="373062"/>
            <a:ext cx="3276600" cy="153706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66298" rtl="0" eaLnBrk="1" latinLnBrk="0" hangingPunct="1">
              <a:spcBef>
                <a:spcPct val="0"/>
              </a:spcBef>
              <a:buNone/>
              <a:defRPr sz="3672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S" sz="5400" b="1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 </a:t>
            </a:r>
            <a:r>
              <a:rPr lang="es-ES" sz="5400" b="1" dirty="0" err="1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es-ES" sz="5400" b="1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?</a:t>
            </a:r>
            <a:endParaRPr lang="en-US" sz="5400" b="1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408238" y="377824"/>
            <a:ext cx="32766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66298" rtl="0" eaLnBrk="1" latinLnBrk="0" hangingPunct="1">
              <a:spcBef>
                <a:spcPct val="0"/>
              </a:spcBef>
              <a:buNone/>
              <a:defRPr sz="3672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S" sz="5400" b="1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</a:t>
            </a:r>
            <a:endParaRPr lang="en-US" sz="5400" b="1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0037" y="2659062"/>
            <a:ext cx="86868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400" dirty="0" err="1">
                <a:solidFill>
                  <a:schemeClr val="bg1"/>
                </a:solidFill>
              </a:rPr>
              <a:t>Azure</a:t>
            </a:r>
            <a:r>
              <a:rPr lang="es-ES" sz="4400" dirty="0">
                <a:solidFill>
                  <a:schemeClr val="bg1"/>
                </a:solidFill>
              </a:rPr>
              <a:t> es la plataforma de Cloud Computing de Microsoft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46238" y="2125662"/>
            <a:ext cx="84582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400" dirty="0">
                <a:solidFill>
                  <a:schemeClr val="bg1"/>
                </a:solidFill>
              </a:rPr>
              <a:t>Todo aquello que se ejecute o almacene localmente: programas locales, almacenamiento local.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4363E-6 3.43622E-6 L 0.10109 -0.00091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55" y="-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8" y="373062"/>
            <a:ext cx="4724400" cy="1537069"/>
          </a:xfrm>
        </p:spPr>
        <p:txBody>
          <a:bodyPr>
            <a:normAutofit/>
          </a:bodyPr>
          <a:lstStyle/>
          <a:p>
            <a:r>
              <a:rPr lang="es-ES" sz="5400" b="1" spc="0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</a:t>
            </a:r>
            <a:r>
              <a:rPr lang="es-ES" sz="5400" b="1" spc="0" dirty="0" err="1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es-ES" sz="5400" b="1" spc="0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/>
          <a:srcRect l="52215" t="6422" r="19385" b="46930"/>
          <a:stretch/>
        </p:blipFill>
        <p:spPr>
          <a:xfrm>
            <a:off x="6904037" y="754062"/>
            <a:ext cx="5268083" cy="57687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1453" t="6422" r="19385" b="51382"/>
          <a:stretch/>
        </p:blipFill>
        <p:spPr>
          <a:xfrm>
            <a:off x="33000" y="766121"/>
            <a:ext cx="12403475" cy="44075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691" y="271"/>
            <a:ext cx="10492092" cy="699472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515" y="1815540"/>
            <a:ext cx="10143461" cy="426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5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6138" y="4640262"/>
            <a:ext cx="2620303" cy="154316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4016" y="601662"/>
            <a:ext cx="1304545" cy="13045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7" y="4716463"/>
            <a:ext cx="2361527" cy="13907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2352" y="4640262"/>
            <a:ext cx="2620303" cy="1543165"/>
          </a:xfrm>
          <a:prstGeom prst="rect">
            <a:avLst/>
          </a:prstGeom>
        </p:spPr>
      </p:pic>
      <p:cxnSp>
        <p:nvCxnSpPr>
          <p:cNvPr id="13" name="Elbow Connector 12"/>
          <p:cNvCxnSpPr>
            <a:stCxn id="6" idx="1"/>
            <a:endCxn id="7" idx="0"/>
          </p:cNvCxnSpPr>
          <p:nvPr/>
        </p:nvCxnSpPr>
        <p:spPr>
          <a:xfrm rot="10800000" flipV="1">
            <a:off x="1885292" y="1253935"/>
            <a:ext cx="1918725" cy="3462528"/>
          </a:xfrm>
          <a:prstGeom prst="bentConnector2">
            <a:avLst/>
          </a:prstGeom>
          <a:ln w="38100">
            <a:solidFill>
              <a:schemeClr val="accent1">
                <a:lumMod val="20000"/>
                <a:lumOff val="8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6" idx="2"/>
            <a:endCxn id="5" idx="0"/>
          </p:cNvCxnSpPr>
          <p:nvPr/>
        </p:nvCxnSpPr>
        <p:spPr>
          <a:xfrm rot="16200000" flipH="1">
            <a:off x="3089262" y="3273233"/>
            <a:ext cx="2734055" cy="1"/>
          </a:xfrm>
          <a:prstGeom prst="bentConnector3">
            <a:avLst/>
          </a:prstGeom>
          <a:ln w="38100">
            <a:solidFill>
              <a:schemeClr val="accent1">
                <a:lumMod val="20000"/>
                <a:lumOff val="8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6" idx="3"/>
            <a:endCxn id="8" idx="0"/>
          </p:cNvCxnSpPr>
          <p:nvPr/>
        </p:nvCxnSpPr>
        <p:spPr>
          <a:xfrm>
            <a:off x="5108561" y="1253935"/>
            <a:ext cx="2083943" cy="3386327"/>
          </a:xfrm>
          <a:prstGeom prst="bentConnector2">
            <a:avLst/>
          </a:prstGeom>
          <a:ln w="38100">
            <a:solidFill>
              <a:schemeClr val="accent1">
                <a:lumMod val="20000"/>
                <a:lumOff val="8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9904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PI REST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22437" y="1744662"/>
            <a:ext cx="7188650" cy="3957638"/>
          </a:xfrm>
        </p:spPr>
      </p:pic>
    </p:spTree>
    <p:extLst>
      <p:ext uri="{BB962C8B-B14F-4D97-AF65-F5344CB8AC3E}">
        <p14:creationId xmlns:p14="http://schemas.microsoft.com/office/powerpoint/2010/main" val="377185067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237" y="601662"/>
            <a:ext cx="8284280" cy="53244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000" b="95273" l="459" r="99083">
                        <a14:foregroundMark x1="52523" y1="55273" x2="52523" y2="55273"/>
                        <a14:foregroundMark x1="67661" y1="72364" x2="67661" y2="72364"/>
                        <a14:foregroundMark x1="63761" y1="41818" x2="63761" y2="41818"/>
                        <a14:foregroundMark x1="76376" y1="38545" x2="76376" y2="38545"/>
                        <a14:foregroundMark x1="92202" y1="49455" x2="92202" y2="49455"/>
                        <a14:foregroundMark x1="88073" y1="24000" x2="88073" y2="24000"/>
                        <a14:foregroundMark x1="24541" y1="62545" x2="24541" y2="62545"/>
                        <a14:foregroundMark x1="7339" y1="68364" x2="7339" y2="68364"/>
                        <a14:foregroundMark x1="14679" y1="57818" x2="14679" y2="57818"/>
                        <a14:foregroundMark x1="77523" y1="57455" x2="77523" y2="57455"/>
                        <a14:foregroundMark x1="86927" y1="12364" x2="86927" y2="1236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2837" y="830262"/>
            <a:ext cx="8688370" cy="5480050"/>
          </a:xfrm>
          <a:prstGeom prst="rect">
            <a:avLst/>
          </a:prstGeom>
          <a:effectLst>
            <a:glow rad="190500">
              <a:schemeClr val="bg1">
                <a:alpha val="88000"/>
              </a:schemeClr>
            </a:glow>
            <a:outerShdw blurRad="50800" dist="50800" dir="5400000" sx="7000" sy="7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080544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072" y="5326062"/>
            <a:ext cx="8769049" cy="1347094"/>
          </a:xfrm>
        </p:spPr>
        <p:txBody>
          <a:bodyPr/>
          <a:lstStyle/>
          <a:p>
            <a:r>
              <a:rPr lang="es-ES" dirty="0"/>
              <a:t>Además, en el CLUB UAMDOTNET tenemos $$$ para gastar en </a:t>
            </a:r>
            <a:r>
              <a:rPr lang="es-ES" dirty="0" err="1"/>
              <a:t>Az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916" y="2203601"/>
            <a:ext cx="8769049" cy="3122461"/>
          </a:xfrm>
        </p:spPr>
        <p:txBody>
          <a:bodyPr/>
          <a:lstStyle/>
          <a:p>
            <a:r>
              <a:rPr lang="es-ES" dirty="0"/>
              <a:t>Crear el </a:t>
            </a:r>
            <a:r>
              <a:rPr lang="es-ES" dirty="0" err="1"/>
              <a:t>backend</a:t>
            </a:r>
            <a:r>
              <a:rPr lang="es-ES" dirty="0"/>
              <a:t> para tus apps en ASP.NET, Java, PHP, Node.js o Python</a:t>
            </a:r>
          </a:p>
          <a:p>
            <a:r>
              <a:rPr lang="es-ES" dirty="0"/>
              <a:t>Alojar tus propias páginas web gratis</a:t>
            </a:r>
          </a:p>
          <a:p>
            <a:r>
              <a:rPr lang="es-ES" dirty="0"/>
              <a:t>Usar Visual Studio Online para mantener repositorios privados</a:t>
            </a:r>
          </a:p>
          <a:p>
            <a:r>
              <a:rPr lang="es-ES" dirty="0"/>
              <a:t>Integrar </a:t>
            </a:r>
            <a:r>
              <a:rPr lang="es-ES" dirty="0" err="1"/>
              <a:t>Application</a:t>
            </a:r>
            <a:r>
              <a:rPr lang="es-ES" dirty="0"/>
              <a:t> </a:t>
            </a:r>
            <a:r>
              <a:rPr lang="es-ES" dirty="0" err="1"/>
              <a:t>Insights</a:t>
            </a:r>
            <a:r>
              <a:rPr lang="es-ES" dirty="0"/>
              <a:t> en tus apps para obtener telemetría</a:t>
            </a:r>
          </a:p>
          <a:p>
            <a:r>
              <a:rPr lang="es-ES" dirty="0"/>
              <a:t>Usar bases de datos SQL para almacenar información</a:t>
            </a:r>
          </a:p>
          <a:p>
            <a:r>
              <a:rPr lang="es-ES" dirty="0"/>
              <a:t>Utilizar </a:t>
            </a:r>
            <a:r>
              <a:rPr lang="es-ES" dirty="0" err="1"/>
              <a:t>Notification</a:t>
            </a:r>
            <a:r>
              <a:rPr lang="es-ES" dirty="0"/>
              <a:t> </a:t>
            </a:r>
            <a:r>
              <a:rPr lang="es-ES" dirty="0" err="1"/>
              <a:t>Hubs</a:t>
            </a:r>
            <a:r>
              <a:rPr lang="es-ES" dirty="0"/>
              <a:t> para enviar notificaciones </a:t>
            </a:r>
            <a:r>
              <a:rPr lang="es-ES" dirty="0" err="1"/>
              <a:t>push</a:t>
            </a:r>
            <a:r>
              <a:rPr lang="es-ES" dirty="0"/>
              <a:t> a dispositivos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85072" y="677862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66298" rtl="0" eaLnBrk="1" latinLnBrk="0" hangingPunct="1">
              <a:spcBef>
                <a:spcPct val="0"/>
              </a:spcBef>
              <a:buNone/>
              <a:defRPr sz="3672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S"/>
              <a:t>Con Azure para Estudiantes puedes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5543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http://schemas.microsoft.com/office/2006/documentManagement/types"/>
    <ds:schemaRef ds:uri="12a172fe-0250-434a-85cf-03b10810c5e5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http://purl.org/dc/terms/"/>
    <ds:schemaRef ds:uri="http://schemas.microsoft.com/office/infopath/2007/PartnerControls"/>
    <ds:schemaRef ds:uri="230e9df3-be65-4c73-a93b-d1236ebd677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941</TotalTime>
  <Words>126</Words>
  <Application>Microsoft Office PowerPoint</Application>
  <PresentationFormat>Custom</PresentationFormat>
  <Paragraphs>2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ＭＳ Ｐゴシック</vt:lpstr>
      <vt:lpstr>Arial</vt:lpstr>
      <vt:lpstr>Avenir LT Pro 45 Book</vt:lpstr>
      <vt:lpstr>Consolas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PowerPoint Presentation</vt:lpstr>
      <vt:lpstr>¿Qué</vt:lpstr>
      <vt:lpstr>¿Qué es Azure?</vt:lpstr>
      <vt:lpstr>PowerPoint Presentation</vt:lpstr>
      <vt:lpstr>API REST</vt:lpstr>
      <vt:lpstr>PowerPoint Presentation</vt:lpstr>
      <vt:lpstr>Además, en el CLUB UAMDOTNET tenemos $$$ para gastar en Azur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17</cp:revision>
  <dcterms:created xsi:type="dcterms:W3CDTF">2015-04-29T17:53:46Z</dcterms:created>
  <dcterms:modified xsi:type="dcterms:W3CDTF">2016-05-22T22:5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